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11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91.xml" ContentType="application/vnd.openxmlformats-officedocument.presentationml.tags+xml"/>
  <Override PartName="/ppt/notesSlides/notesSlide11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28" r:id="rId11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114.xml" Id="rId117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1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14.xml.rels>&#65279;<?xml version="1.0" encoding="utf-8"?><Relationships xmlns="http://schemas.openxmlformats.org/package/2006/relationships"><Relationship Type="http://schemas.openxmlformats.org/officeDocument/2006/relationships/slide" Target="/ppt/slides/slide114.xml" Id="rId2" /><Relationship Type="http://schemas.openxmlformats.org/officeDocument/2006/relationships/notesMaster" Target="/ppt/notesMasters/notesMaster1.xml" Id="rId1" /></Relationship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37106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14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391.xml" Id="rId2" /><Relationship Type="http://schemas.openxmlformats.org/officeDocument/2006/relationships/vmlDrawing" Target="/ppt/drawings/vmlDrawing118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18.bin" Id="rId5" /><Relationship Type="http://schemas.openxmlformats.org/officeDocument/2006/relationships/notesSlide" Target="/ppt/notesSlides/notesSlide114.xml" Id="rId4" /></Relationships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566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ind map</a:t>
            </a:r>
          </a:p>
        </p:txBody>
      </p:sp>
      <p:grpSp>
        <p:nvGrpSpPr>
          <p:cNvPr id="2" name="Gruppieren 6">
            <a:extLst>
              <a:ext uri="{FF2B5EF4-FFF2-40B4-BE49-F238E27FC236}">
                <a16:creationId xmlns:a16="http://schemas.microsoft.com/office/drawing/2014/main" id="{F42A0B89-9589-76C4-4BF6-7B15B01FE319}"/>
              </a:ext>
            </a:extLst>
          </p:cNvPr>
          <p:cNvGrpSpPr>
            <a:grpSpLocks/>
          </p:cNvGrpSpPr>
          <p:nvPr/>
        </p:nvGrpSpPr>
        <p:grpSpPr bwMode="gray">
          <a:xfrm>
            <a:off x="1750623" y="1687999"/>
            <a:ext cx="8612125" cy="3997522"/>
            <a:chOff x="2233010" y="2431291"/>
            <a:chExt cx="7629922" cy="3541610"/>
          </a:xfrm>
        </p:grpSpPr>
        <p:sp>
          <p:nvSpPr>
            <p:cNvPr id="3" name="Grafik 216">
              <a:extLst>
                <a:ext uri="{FF2B5EF4-FFF2-40B4-BE49-F238E27FC236}">
                  <a16:creationId xmlns:a16="http://schemas.microsoft.com/office/drawing/2014/main" id="{851F098B-7AE1-53F5-B923-35274455807B}"/>
                </a:ext>
              </a:extLst>
            </p:cNvPr>
            <p:cNvSpPr>
              <a:spLocks/>
            </p:cNvSpPr>
            <p:nvPr/>
          </p:nvSpPr>
          <p:spPr bwMode="gray">
            <a:xfrm>
              <a:off x="2332521" y="3365255"/>
              <a:ext cx="2518062" cy="661654"/>
            </a:xfrm>
            <a:custGeom>
              <a:avLst/>
              <a:gdLst>
                <a:gd name="connsiteX0" fmla="*/ -107 w 2518062"/>
                <a:gd name="connsiteY0" fmla="*/ -145 h 661654"/>
                <a:gd name="connsiteX1" fmla="*/ 671842 w 2518062"/>
                <a:gd name="connsiteY1" fmla="*/ -145 h 661654"/>
                <a:gd name="connsiteX2" fmla="*/ 822212 w 2518062"/>
                <a:gd name="connsiteY2" fmla="*/ 62111 h 661654"/>
                <a:gd name="connsiteX3" fmla="*/ 963269 w 2518062"/>
                <a:gd name="connsiteY3" fmla="*/ 203167 h 661654"/>
                <a:gd name="connsiteX4" fmla="*/ 1135576 w 2518062"/>
                <a:gd name="connsiteY4" fmla="*/ 274492 h 661654"/>
                <a:gd name="connsiteX5" fmla="*/ 2003239 w 2518062"/>
                <a:gd name="connsiteY5" fmla="*/ 274492 h 661654"/>
                <a:gd name="connsiteX6" fmla="*/ 2221748 w 2518062"/>
                <a:gd name="connsiteY6" fmla="*/ 365057 h 661654"/>
                <a:gd name="connsiteX7" fmla="*/ 2517955 w 2518062"/>
                <a:gd name="connsiteY7" fmla="*/ 661509 h 661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8062" h="661654">
                  <a:moveTo>
                    <a:pt x="-107" y="-145"/>
                  </a:moveTo>
                  <a:lnTo>
                    <a:pt x="671842" y="-145"/>
                  </a:lnTo>
                  <a:cubicBezTo>
                    <a:pt x="728227" y="-121"/>
                    <a:pt x="782309" y="22269"/>
                    <a:pt x="822212" y="62111"/>
                  </a:cubicBezTo>
                  <a:lnTo>
                    <a:pt x="963269" y="203167"/>
                  </a:lnTo>
                  <a:cubicBezTo>
                    <a:pt x="1008968" y="248867"/>
                    <a:pt x="1070954" y="274529"/>
                    <a:pt x="1135576" y="274492"/>
                  </a:cubicBezTo>
                  <a:lnTo>
                    <a:pt x="2003239" y="274492"/>
                  </a:lnTo>
                  <a:cubicBezTo>
                    <a:pt x="2085214" y="274492"/>
                    <a:pt x="2163818" y="307066"/>
                    <a:pt x="2221748" y="365057"/>
                  </a:cubicBezTo>
                  <a:lnTo>
                    <a:pt x="2517955" y="661509"/>
                  </a:lnTo>
                </a:path>
              </a:pathLst>
            </a:custGeom>
            <a:noFill/>
            <a:ln w="6350" cap="flat">
              <a:solidFill>
                <a:schemeClr val="accent5"/>
              </a:solidFill>
              <a:prstDash val="dash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4" name="Grafik 216">
              <a:extLst>
                <a:ext uri="{FF2B5EF4-FFF2-40B4-BE49-F238E27FC236}">
                  <a16:creationId xmlns:a16="http://schemas.microsoft.com/office/drawing/2014/main" id="{7A5F75F7-03BE-B962-3565-634589662D46}"/>
                </a:ext>
              </a:extLst>
            </p:cNvPr>
            <p:cNvSpPr>
              <a:spLocks/>
            </p:cNvSpPr>
            <p:nvPr/>
          </p:nvSpPr>
          <p:spPr bwMode="gray">
            <a:xfrm>
              <a:off x="7239109" y="4401303"/>
              <a:ext cx="2580440" cy="654301"/>
            </a:xfrm>
            <a:custGeom>
              <a:avLst/>
              <a:gdLst>
                <a:gd name="connsiteX0" fmla="*/ 2580333 w 2580440"/>
                <a:gd name="connsiteY0" fmla="*/ 654156 h 654301"/>
                <a:gd name="connsiteX1" fmla="*/ 1792083 w 2580440"/>
                <a:gd name="connsiteY1" fmla="*/ 654156 h 654301"/>
                <a:gd name="connsiteX2" fmla="*/ 1670512 w 2580440"/>
                <a:gd name="connsiteY2" fmla="*/ 603910 h 654301"/>
                <a:gd name="connsiteX3" fmla="*/ 1509357 w 2580440"/>
                <a:gd name="connsiteY3" fmla="*/ 442755 h 654301"/>
                <a:gd name="connsiteX4" fmla="*/ 1348814 w 2580440"/>
                <a:gd name="connsiteY4" fmla="*/ 376210 h 654301"/>
                <a:gd name="connsiteX5" fmla="*/ 446470 w 2580440"/>
                <a:gd name="connsiteY5" fmla="*/ 376210 h 654301"/>
                <a:gd name="connsiteX6" fmla="*/ 326124 w 2580440"/>
                <a:gd name="connsiteY6" fmla="*/ 326454 h 654301"/>
                <a:gd name="connsiteX7" fmla="*/ -107 w 2580440"/>
                <a:gd name="connsiteY7" fmla="*/ -145 h 6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80440" h="654301">
                  <a:moveTo>
                    <a:pt x="2580333" y="654156"/>
                  </a:moveTo>
                  <a:lnTo>
                    <a:pt x="1792083" y="654156"/>
                  </a:lnTo>
                  <a:cubicBezTo>
                    <a:pt x="1746494" y="654230"/>
                    <a:pt x="1702755" y="636141"/>
                    <a:pt x="1670512" y="603910"/>
                  </a:cubicBezTo>
                  <a:lnTo>
                    <a:pt x="1509357" y="442755"/>
                  </a:lnTo>
                  <a:cubicBezTo>
                    <a:pt x="1466807" y="400132"/>
                    <a:pt x="1409049" y="376185"/>
                    <a:pt x="1348814" y="376210"/>
                  </a:cubicBezTo>
                  <a:lnTo>
                    <a:pt x="446470" y="376210"/>
                  </a:lnTo>
                  <a:cubicBezTo>
                    <a:pt x="401346" y="376247"/>
                    <a:pt x="358049" y="358342"/>
                    <a:pt x="326124" y="326454"/>
                  </a:cubicBezTo>
                  <a:lnTo>
                    <a:pt x="-107" y="-145"/>
                  </a:lnTo>
                </a:path>
              </a:pathLst>
            </a:custGeom>
            <a:noFill/>
            <a:ln w="6350" cap="flat">
              <a:solidFill>
                <a:schemeClr val="accent5"/>
              </a:solidFill>
              <a:prstDash val="dash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6" name="Grafik 216">
              <a:extLst>
                <a:ext uri="{FF2B5EF4-FFF2-40B4-BE49-F238E27FC236}">
                  <a16:creationId xmlns:a16="http://schemas.microsoft.com/office/drawing/2014/main" id="{B5EA3C3D-4786-FBD9-58DE-D15F25BF306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3010" y="2448741"/>
              <a:ext cx="1694026" cy="663492"/>
            </a:xfrm>
            <a:custGeom>
              <a:avLst/>
              <a:gdLst>
                <a:gd name="connsiteX0" fmla="*/ -107 w 1694026"/>
                <a:gd name="connsiteY0" fmla="*/ -145 h 663492"/>
                <a:gd name="connsiteX1" fmla="*/ 826011 w 1694026"/>
                <a:gd name="connsiteY1" fmla="*/ -145 h 663492"/>
                <a:gd name="connsiteX2" fmla="*/ 1175282 w 1694026"/>
                <a:gd name="connsiteY2" fmla="*/ 144465 h 663492"/>
                <a:gd name="connsiteX3" fmla="*/ 1693920 w 1694026"/>
                <a:gd name="connsiteY3" fmla="*/ 663347 h 663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4026" h="663492">
                  <a:moveTo>
                    <a:pt x="-107" y="-145"/>
                  </a:moveTo>
                  <a:lnTo>
                    <a:pt x="826011" y="-145"/>
                  </a:lnTo>
                  <a:cubicBezTo>
                    <a:pt x="956994" y="-121"/>
                    <a:pt x="1082609" y="51890"/>
                    <a:pt x="1175282" y="144465"/>
                  </a:cubicBezTo>
                  <a:lnTo>
                    <a:pt x="1693920" y="663347"/>
                  </a:lnTo>
                </a:path>
              </a:pathLst>
            </a:custGeom>
            <a:noFill/>
            <a:ln w="6350" cap="flat">
              <a:solidFill>
                <a:schemeClr val="accent5"/>
              </a:solidFill>
              <a:prstDash val="dash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7" name="Grafik 216">
              <a:extLst>
                <a:ext uri="{FF2B5EF4-FFF2-40B4-BE49-F238E27FC236}">
                  <a16:creationId xmlns:a16="http://schemas.microsoft.com/office/drawing/2014/main" id="{BE9F8479-4D65-A893-66CD-C072C5AE392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5082" y="4654249"/>
              <a:ext cx="364713" cy="1264852"/>
            </a:xfrm>
            <a:custGeom>
              <a:avLst/>
              <a:gdLst>
                <a:gd name="connsiteX0" fmla="*/ 364605 w 364713"/>
                <a:gd name="connsiteY0" fmla="*/ -145 h 1264852"/>
                <a:gd name="connsiteX1" fmla="*/ 364605 w 364713"/>
                <a:gd name="connsiteY1" fmla="*/ 793374 h 1264852"/>
                <a:gd name="connsiteX2" fmla="*/ 306271 w 364713"/>
                <a:gd name="connsiteY2" fmla="*/ 940436 h 1264852"/>
                <a:gd name="connsiteX3" fmla="*/ -107 w 364713"/>
                <a:gd name="connsiteY3" fmla="*/ 1264707 h 1264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713" h="1264852">
                  <a:moveTo>
                    <a:pt x="364605" y="-145"/>
                  </a:moveTo>
                  <a:lnTo>
                    <a:pt x="364605" y="793374"/>
                  </a:lnTo>
                  <a:cubicBezTo>
                    <a:pt x="364752" y="848069"/>
                    <a:pt x="343870" y="900717"/>
                    <a:pt x="306271" y="940436"/>
                  </a:cubicBezTo>
                  <a:lnTo>
                    <a:pt x="-107" y="1264707"/>
                  </a:lnTo>
                </a:path>
              </a:pathLst>
            </a:custGeom>
            <a:noFill/>
            <a:ln w="6350" cap="flat">
              <a:solidFill>
                <a:schemeClr val="accent5"/>
              </a:solidFill>
              <a:prstDash val="dash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9" name="Grafik 216">
              <a:extLst>
                <a:ext uri="{FF2B5EF4-FFF2-40B4-BE49-F238E27FC236}">
                  <a16:creationId xmlns:a16="http://schemas.microsoft.com/office/drawing/2014/main" id="{8763606E-8559-19F6-DAEB-DE331968B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4674" y="2464503"/>
              <a:ext cx="398046" cy="1355907"/>
            </a:xfrm>
            <a:custGeom>
              <a:avLst/>
              <a:gdLst>
                <a:gd name="connsiteX0" fmla="*/ -107 w 398046"/>
                <a:gd name="connsiteY0" fmla="*/ 1355762 h 1355907"/>
                <a:gd name="connsiteX1" fmla="*/ -107 w 398046"/>
                <a:gd name="connsiteY1" fmla="*/ 512854 h 1355907"/>
                <a:gd name="connsiteX2" fmla="*/ 80164 w 398046"/>
                <a:gd name="connsiteY2" fmla="*/ 318488 h 1355907"/>
                <a:gd name="connsiteX3" fmla="*/ 397939 w 398046"/>
                <a:gd name="connsiteY3" fmla="*/ -145 h 135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8046" h="1355907">
                  <a:moveTo>
                    <a:pt x="-107" y="1355762"/>
                  </a:moveTo>
                  <a:lnTo>
                    <a:pt x="-107" y="512854"/>
                  </a:lnTo>
                  <a:cubicBezTo>
                    <a:pt x="-156" y="439985"/>
                    <a:pt x="28717" y="370082"/>
                    <a:pt x="80164" y="318488"/>
                  </a:cubicBezTo>
                  <a:lnTo>
                    <a:pt x="397939" y="-145"/>
                  </a:lnTo>
                </a:path>
              </a:pathLst>
            </a:custGeom>
            <a:noFill/>
            <a:ln w="6350" cap="flat">
              <a:solidFill>
                <a:schemeClr val="accent5"/>
              </a:solidFill>
              <a:prstDash val="dash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1" name="Grafik 216">
              <a:extLst>
                <a:ext uri="{FF2B5EF4-FFF2-40B4-BE49-F238E27FC236}">
                  <a16:creationId xmlns:a16="http://schemas.microsoft.com/office/drawing/2014/main" id="{A6E6E4E7-6A57-72A6-9078-1583F6883961}"/>
                </a:ext>
              </a:extLst>
            </p:cNvPr>
            <p:cNvSpPr>
              <a:spLocks/>
            </p:cNvSpPr>
            <p:nvPr/>
          </p:nvSpPr>
          <p:spPr bwMode="gray">
            <a:xfrm>
              <a:off x="8116944" y="5317129"/>
              <a:ext cx="1745988" cy="655772"/>
            </a:xfrm>
            <a:custGeom>
              <a:avLst/>
              <a:gdLst>
                <a:gd name="connsiteX0" fmla="*/ 1745881 w 1745988"/>
                <a:gd name="connsiteY0" fmla="*/ 655627 h 655772"/>
                <a:gd name="connsiteX1" fmla="*/ 855545 w 1745988"/>
                <a:gd name="connsiteY1" fmla="*/ 655627 h 655772"/>
                <a:gd name="connsiteX2" fmla="*/ 551374 w 1745988"/>
                <a:gd name="connsiteY2" fmla="*/ 533076 h 655772"/>
                <a:gd name="connsiteX3" fmla="*/ -107 w 1745988"/>
                <a:gd name="connsiteY3" fmla="*/ -145 h 655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5988" h="655772">
                  <a:moveTo>
                    <a:pt x="1745881" y="655627"/>
                  </a:moveTo>
                  <a:lnTo>
                    <a:pt x="855545" y="655627"/>
                  </a:lnTo>
                  <a:cubicBezTo>
                    <a:pt x="742100" y="655749"/>
                    <a:pt x="633054" y="611802"/>
                    <a:pt x="551374" y="533076"/>
                  </a:cubicBezTo>
                  <a:lnTo>
                    <a:pt x="-107" y="-145"/>
                  </a:lnTo>
                </a:path>
              </a:pathLst>
            </a:custGeom>
            <a:noFill/>
            <a:ln w="6350" cap="flat">
              <a:solidFill>
                <a:schemeClr val="accent5"/>
              </a:solidFill>
              <a:prstDash val="dash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2" name="Grafik 216">
              <a:extLst>
                <a:ext uri="{FF2B5EF4-FFF2-40B4-BE49-F238E27FC236}">
                  <a16:creationId xmlns:a16="http://schemas.microsoft.com/office/drawing/2014/main" id="{D5E9772C-1787-DEA7-1164-EF6A4D2AFC50}"/>
                </a:ext>
              </a:extLst>
            </p:cNvPr>
            <p:cNvSpPr>
              <a:spLocks/>
            </p:cNvSpPr>
            <p:nvPr/>
          </p:nvSpPr>
          <p:spPr bwMode="gray">
            <a:xfrm>
              <a:off x="5220689" y="3149809"/>
              <a:ext cx="243999" cy="770357"/>
            </a:xfrm>
            <a:custGeom>
              <a:avLst/>
              <a:gdLst>
                <a:gd name="connsiteX0" fmla="*/ 243892 w 243999"/>
                <a:gd name="connsiteY0" fmla="*/ 770212 h 770357"/>
                <a:gd name="connsiteX1" fmla="*/ 80041 w 243999"/>
                <a:gd name="connsiteY1" fmla="*/ 606606 h 770357"/>
                <a:gd name="connsiteX2" fmla="*/ -107 w 243999"/>
                <a:gd name="connsiteY2" fmla="*/ 413343 h 770357"/>
                <a:gd name="connsiteX3" fmla="*/ -107 w 243999"/>
                <a:gd name="connsiteY3" fmla="*/ -145 h 770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999" h="770357">
                  <a:moveTo>
                    <a:pt x="243892" y="770212"/>
                  </a:moveTo>
                  <a:lnTo>
                    <a:pt x="80041" y="606606"/>
                  </a:lnTo>
                  <a:cubicBezTo>
                    <a:pt x="28729" y="555380"/>
                    <a:pt x="-107" y="485856"/>
                    <a:pt x="-107" y="413343"/>
                  </a:cubicBezTo>
                  <a:lnTo>
                    <a:pt x="-107" y="-145"/>
                  </a:lnTo>
                </a:path>
              </a:pathLst>
            </a:custGeom>
            <a:noFill/>
            <a:ln w="6350" cap="flat">
              <a:solidFill>
                <a:schemeClr val="accent5"/>
              </a:solidFill>
              <a:prstDash val="dash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3" name="Grafik 216">
              <a:extLst>
                <a:ext uri="{FF2B5EF4-FFF2-40B4-BE49-F238E27FC236}">
                  <a16:creationId xmlns:a16="http://schemas.microsoft.com/office/drawing/2014/main" id="{A03CD9FF-D484-2E6B-AFA3-0E0165E15A7A}"/>
                </a:ext>
              </a:extLst>
            </p:cNvPr>
            <p:cNvSpPr>
              <a:spLocks/>
            </p:cNvSpPr>
            <p:nvPr/>
          </p:nvSpPr>
          <p:spPr bwMode="gray">
            <a:xfrm>
              <a:off x="7019742" y="3629965"/>
              <a:ext cx="859452" cy="382482"/>
            </a:xfrm>
            <a:custGeom>
              <a:avLst/>
              <a:gdLst>
                <a:gd name="connsiteX0" fmla="*/ -107 w 859452"/>
                <a:gd name="connsiteY0" fmla="*/ 382337 h 382482"/>
                <a:gd name="connsiteX1" fmla="*/ 327840 w 859452"/>
                <a:gd name="connsiteY1" fmla="*/ 54267 h 382482"/>
                <a:gd name="connsiteX2" fmla="*/ 458970 w 859452"/>
                <a:gd name="connsiteY2" fmla="*/ -145 h 382482"/>
                <a:gd name="connsiteX3" fmla="*/ 859345 w 859452"/>
                <a:gd name="connsiteY3" fmla="*/ -145 h 382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9452" h="382482">
                  <a:moveTo>
                    <a:pt x="-107" y="382337"/>
                  </a:moveTo>
                  <a:lnTo>
                    <a:pt x="327840" y="54267"/>
                  </a:lnTo>
                  <a:cubicBezTo>
                    <a:pt x="362596" y="19438"/>
                    <a:pt x="409766" y="-133"/>
                    <a:pt x="458970" y="-145"/>
                  </a:cubicBezTo>
                  <a:lnTo>
                    <a:pt x="859345" y="-145"/>
                  </a:lnTo>
                </a:path>
              </a:pathLst>
            </a:custGeom>
            <a:noFill/>
            <a:ln w="6350" cap="flat">
              <a:solidFill>
                <a:schemeClr val="accent5"/>
              </a:solidFill>
              <a:prstDash val="dash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4" name="Grafik 216">
              <a:extLst>
                <a:ext uri="{FF2B5EF4-FFF2-40B4-BE49-F238E27FC236}">
                  <a16:creationId xmlns:a16="http://schemas.microsoft.com/office/drawing/2014/main" id="{BFAC355D-FB0D-5189-A99A-F1FB65FCF861}"/>
                </a:ext>
              </a:extLst>
            </p:cNvPr>
            <p:cNvSpPr>
              <a:spLocks/>
            </p:cNvSpPr>
            <p:nvPr/>
          </p:nvSpPr>
          <p:spPr bwMode="gray">
            <a:xfrm>
              <a:off x="7854439" y="2431291"/>
              <a:ext cx="1674418" cy="664350"/>
            </a:xfrm>
            <a:custGeom>
              <a:avLst/>
              <a:gdLst>
                <a:gd name="connsiteX0" fmla="*/ -107 w 1674418"/>
                <a:gd name="connsiteY0" fmla="*/ 664205 h 664350"/>
                <a:gd name="connsiteX1" fmla="*/ 528089 w 1674418"/>
                <a:gd name="connsiteY1" fmla="*/ 136377 h 664350"/>
                <a:gd name="connsiteX2" fmla="*/ 856404 w 1674418"/>
                <a:gd name="connsiteY2" fmla="*/ -145 h 664350"/>
                <a:gd name="connsiteX3" fmla="*/ 1674311 w 1674418"/>
                <a:gd name="connsiteY3" fmla="*/ -145 h 66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74418" h="664350">
                  <a:moveTo>
                    <a:pt x="-107" y="664205"/>
                  </a:moveTo>
                  <a:lnTo>
                    <a:pt x="528089" y="136377"/>
                  </a:lnTo>
                  <a:cubicBezTo>
                    <a:pt x="615039" y="49047"/>
                    <a:pt x="733166" y="-84"/>
                    <a:pt x="856404" y="-145"/>
                  </a:cubicBezTo>
                  <a:lnTo>
                    <a:pt x="1674311" y="-145"/>
                  </a:lnTo>
                </a:path>
              </a:pathLst>
            </a:custGeom>
            <a:noFill/>
            <a:ln w="6350" cap="flat">
              <a:solidFill>
                <a:schemeClr val="accent5"/>
              </a:solidFill>
              <a:prstDash val="dash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5" name="Grafik 216">
              <a:extLst>
                <a:ext uri="{FF2B5EF4-FFF2-40B4-BE49-F238E27FC236}">
                  <a16:creationId xmlns:a16="http://schemas.microsoft.com/office/drawing/2014/main" id="{E35AD7CA-79D2-2BB3-F2E3-C25227A8322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23965" y="5106709"/>
              <a:ext cx="856143" cy="376845"/>
            </a:xfrm>
            <a:custGeom>
              <a:avLst/>
              <a:gdLst>
                <a:gd name="connsiteX0" fmla="*/ 856036 w 856143"/>
                <a:gd name="connsiteY0" fmla="*/ 376700 h 376845"/>
                <a:gd name="connsiteX1" fmla="*/ 496838 w 856143"/>
                <a:gd name="connsiteY1" fmla="*/ 48140 h 376845"/>
                <a:gd name="connsiteX2" fmla="*/ 372449 w 856143"/>
                <a:gd name="connsiteY2" fmla="*/ -145 h 376845"/>
                <a:gd name="connsiteX3" fmla="*/ -107 w 856143"/>
                <a:gd name="connsiteY3" fmla="*/ -145 h 376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6143" h="376845">
                  <a:moveTo>
                    <a:pt x="856036" y="376700"/>
                  </a:moveTo>
                  <a:lnTo>
                    <a:pt x="496838" y="48140"/>
                  </a:lnTo>
                  <a:cubicBezTo>
                    <a:pt x="462891" y="17036"/>
                    <a:pt x="418491" y="-195"/>
                    <a:pt x="372449" y="-145"/>
                  </a:cubicBezTo>
                  <a:lnTo>
                    <a:pt x="-107" y="-145"/>
                  </a:lnTo>
                </a:path>
              </a:pathLst>
            </a:custGeom>
            <a:noFill/>
            <a:ln w="6350" cap="flat">
              <a:solidFill>
                <a:schemeClr val="accent5"/>
              </a:solidFill>
              <a:prstDash val="dash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16" name="Gruppieren 17">
            <a:extLst>
              <a:ext uri="{FF2B5EF4-FFF2-40B4-BE49-F238E27FC236}">
                <a16:creationId xmlns:a16="http://schemas.microsoft.com/office/drawing/2014/main" id="{05FA13F3-4305-7CC3-27BE-C384B4CA0D76}"/>
              </a:ext>
            </a:extLst>
          </p:cNvPr>
          <p:cNvGrpSpPr>
            <a:grpSpLocks/>
          </p:cNvGrpSpPr>
          <p:nvPr/>
        </p:nvGrpSpPr>
        <p:grpSpPr bwMode="gray">
          <a:xfrm>
            <a:off x="1695844" y="1725348"/>
            <a:ext cx="8653071" cy="4149821"/>
            <a:chOff x="2184479" y="2464380"/>
            <a:chExt cx="7666198" cy="3676539"/>
          </a:xfrm>
        </p:grpSpPr>
        <p:sp>
          <p:nvSpPr>
            <p:cNvPr id="17" name="Grafik 216">
              <a:extLst>
                <a:ext uri="{FF2B5EF4-FFF2-40B4-BE49-F238E27FC236}">
                  <a16:creationId xmlns:a16="http://schemas.microsoft.com/office/drawing/2014/main" id="{2E518B87-A5CB-C022-C75C-19B24DDCD21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3010" y="2774115"/>
              <a:ext cx="2994663" cy="1252719"/>
            </a:xfrm>
            <a:custGeom>
              <a:avLst/>
              <a:gdLst>
                <a:gd name="connsiteX0" fmla="*/ -107 w 2994663"/>
                <a:gd name="connsiteY0" fmla="*/ -145 h 1252719"/>
                <a:gd name="connsiteX1" fmla="*/ 758485 w 2994663"/>
                <a:gd name="connsiteY1" fmla="*/ -145 h 1252719"/>
                <a:gd name="connsiteX2" fmla="*/ 930792 w 2994663"/>
                <a:gd name="connsiteY2" fmla="*/ 71179 h 1252719"/>
                <a:gd name="connsiteX3" fmla="*/ 1200405 w 2994663"/>
                <a:gd name="connsiteY3" fmla="*/ 340792 h 1252719"/>
                <a:gd name="connsiteX4" fmla="*/ 1992455 w 2994663"/>
                <a:gd name="connsiteY4" fmla="*/ 340792 h 1252719"/>
                <a:gd name="connsiteX5" fmla="*/ 2146747 w 2994663"/>
                <a:gd name="connsiteY5" fmla="*/ 404764 h 1252719"/>
                <a:gd name="connsiteX6" fmla="*/ 2994557 w 2994663"/>
                <a:gd name="connsiteY6" fmla="*/ 1252574 h 125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94663" h="1252719">
                  <a:moveTo>
                    <a:pt x="-107" y="-145"/>
                  </a:moveTo>
                  <a:lnTo>
                    <a:pt x="758485" y="-145"/>
                  </a:lnTo>
                  <a:cubicBezTo>
                    <a:pt x="823094" y="-121"/>
                    <a:pt x="885069" y="25529"/>
                    <a:pt x="930792" y="71179"/>
                  </a:cubicBezTo>
                  <a:lnTo>
                    <a:pt x="1200405" y="340792"/>
                  </a:lnTo>
                  <a:lnTo>
                    <a:pt x="1992455" y="340792"/>
                  </a:lnTo>
                  <a:cubicBezTo>
                    <a:pt x="2050335" y="340817"/>
                    <a:pt x="2105827" y="363832"/>
                    <a:pt x="2146747" y="404764"/>
                  </a:cubicBezTo>
                  <a:lnTo>
                    <a:pt x="2994557" y="1252574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8" name="Grafik 216">
              <a:extLst>
                <a:ext uri="{FF2B5EF4-FFF2-40B4-BE49-F238E27FC236}">
                  <a16:creationId xmlns:a16="http://schemas.microsoft.com/office/drawing/2014/main" id="{073E082F-E11E-F797-EEDF-9DDB19DADF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16552" y="4399097"/>
              <a:ext cx="2995031" cy="1252229"/>
            </a:xfrm>
            <a:custGeom>
              <a:avLst/>
              <a:gdLst>
                <a:gd name="connsiteX0" fmla="*/ 2994924 w 2995031"/>
                <a:gd name="connsiteY0" fmla="*/ 1252084 h 1252229"/>
                <a:gd name="connsiteX1" fmla="*/ 2247361 w 2995031"/>
                <a:gd name="connsiteY1" fmla="*/ 1252084 h 1252229"/>
                <a:gd name="connsiteX2" fmla="*/ 2056181 w 2995031"/>
                <a:gd name="connsiteY2" fmla="*/ 1172916 h 1252229"/>
                <a:gd name="connsiteX3" fmla="*/ 1794779 w 2995031"/>
                <a:gd name="connsiteY3" fmla="*/ 911514 h 1252229"/>
                <a:gd name="connsiteX4" fmla="*/ 993049 w 2995031"/>
                <a:gd name="connsiteY4" fmla="*/ 911514 h 1252229"/>
                <a:gd name="connsiteX5" fmla="*/ 853952 w 2995031"/>
                <a:gd name="connsiteY5" fmla="*/ 853915 h 1252229"/>
                <a:gd name="connsiteX6" fmla="*/ -107 w 2995031"/>
                <a:gd name="connsiteY6" fmla="*/ -145 h 1252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95031" h="1252229">
                  <a:moveTo>
                    <a:pt x="2994924" y="1252084"/>
                  </a:moveTo>
                  <a:lnTo>
                    <a:pt x="2247361" y="1252084"/>
                  </a:lnTo>
                  <a:cubicBezTo>
                    <a:pt x="2175656" y="1252096"/>
                    <a:pt x="2106893" y="1223615"/>
                    <a:pt x="2056181" y="1172916"/>
                  </a:cubicBezTo>
                  <a:lnTo>
                    <a:pt x="1794779" y="911514"/>
                  </a:lnTo>
                  <a:lnTo>
                    <a:pt x="993049" y="911514"/>
                  </a:lnTo>
                  <a:cubicBezTo>
                    <a:pt x="940866" y="911587"/>
                    <a:pt x="890804" y="890864"/>
                    <a:pt x="853952" y="853915"/>
                  </a:cubicBezTo>
                  <a:lnTo>
                    <a:pt x="-107" y="-145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9" name="Grafik 216">
              <a:extLst>
                <a:ext uri="{FF2B5EF4-FFF2-40B4-BE49-F238E27FC236}">
                  <a16:creationId xmlns:a16="http://schemas.microsoft.com/office/drawing/2014/main" id="{858E2CD7-391E-1A30-7EB5-10E93BDEF3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731134" y="3984384"/>
              <a:ext cx="2919662" cy="417287"/>
            </a:xfrm>
            <a:custGeom>
              <a:avLst/>
              <a:gdLst>
                <a:gd name="connsiteX0" fmla="*/ -107 w 2919662"/>
                <a:gd name="connsiteY0" fmla="*/ 417142 h 417287"/>
                <a:gd name="connsiteX1" fmla="*/ 1658870 w 2919662"/>
                <a:gd name="connsiteY1" fmla="*/ 417142 h 417287"/>
                <a:gd name="connsiteX2" fmla="*/ 1874805 w 2919662"/>
                <a:gd name="connsiteY2" fmla="*/ 329273 h 417287"/>
                <a:gd name="connsiteX3" fmla="*/ 2143438 w 2919662"/>
                <a:gd name="connsiteY3" fmla="*/ 67135 h 417287"/>
                <a:gd name="connsiteX4" fmla="*/ 2308759 w 2919662"/>
                <a:gd name="connsiteY4" fmla="*/ -145 h 417287"/>
                <a:gd name="connsiteX5" fmla="*/ 2919555 w 2919662"/>
                <a:gd name="connsiteY5" fmla="*/ -145 h 41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19662" h="417287">
                  <a:moveTo>
                    <a:pt x="-107" y="417142"/>
                  </a:moveTo>
                  <a:lnTo>
                    <a:pt x="1658870" y="417142"/>
                  </a:lnTo>
                  <a:cubicBezTo>
                    <a:pt x="1739557" y="417166"/>
                    <a:pt x="1817059" y="385622"/>
                    <a:pt x="1874805" y="329273"/>
                  </a:cubicBezTo>
                  <a:lnTo>
                    <a:pt x="2143438" y="67135"/>
                  </a:lnTo>
                  <a:cubicBezTo>
                    <a:pt x="2187642" y="23973"/>
                    <a:pt x="2246982" y="-170"/>
                    <a:pt x="2308759" y="-145"/>
                  </a:cubicBezTo>
                  <a:lnTo>
                    <a:pt x="2919555" y="-145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0" name="Grafik 216">
              <a:extLst>
                <a:ext uri="{FF2B5EF4-FFF2-40B4-BE49-F238E27FC236}">
                  <a16:creationId xmlns:a16="http://schemas.microsoft.com/office/drawing/2014/main" id="{CD6C2793-1D82-6CEC-57A2-6122E6062B0E}"/>
                </a:ext>
              </a:extLst>
            </p:cNvPr>
            <p:cNvSpPr>
              <a:spLocks/>
            </p:cNvSpPr>
            <p:nvPr/>
          </p:nvSpPr>
          <p:spPr bwMode="gray">
            <a:xfrm>
              <a:off x="6731134" y="3600186"/>
              <a:ext cx="3119543" cy="416796"/>
            </a:xfrm>
            <a:custGeom>
              <a:avLst/>
              <a:gdLst>
                <a:gd name="connsiteX0" fmla="*/ -107 w 3119543"/>
                <a:gd name="connsiteY0" fmla="*/ 416652 h 416796"/>
                <a:gd name="connsiteX1" fmla="*/ 1804093 w 3119543"/>
                <a:gd name="connsiteY1" fmla="*/ 416652 h 416796"/>
                <a:gd name="connsiteX2" fmla="*/ 2004955 w 3119543"/>
                <a:gd name="connsiteY2" fmla="*/ 334910 h 416796"/>
                <a:gd name="connsiteX3" fmla="*/ 2263906 w 3119543"/>
                <a:gd name="connsiteY3" fmla="*/ 82699 h 416796"/>
                <a:gd name="connsiteX4" fmla="*/ 2467341 w 3119543"/>
                <a:gd name="connsiteY4" fmla="*/ -145 h 416796"/>
                <a:gd name="connsiteX5" fmla="*/ 3119436 w 3119543"/>
                <a:gd name="connsiteY5" fmla="*/ -145 h 416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19543" h="416796">
                  <a:moveTo>
                    <a:pt x="-107" y="416652"/>
                  </a:moveTo>
                  <a:lnTo>
                    <a:pt x="1804093" y="416652"/>
                  </a:lnTo>
                  <a:cubicBezTo>
                    <a:pt x="1879144" y="416639"/>
                    <a:pt x="1951228" y="387313"/>
                    <a:pt x="2004955" y="334910"/>
                  </a:cubicBezTo>
                  <a:lnTo>
                    <a:pt x="2263906" y="82699"/>
                  </a:lnTo>
                  <a:cubicBezTo>
                    <a:pt x="2318319" y="29622"/>
                    <a:pt x="2391322" y="-109"/>
                    <a:pt x="2467341" y="-145"/>
                  </a:cubicBezTo>
                  <a:lnTo>
                    <a:pt x="3119436" y="-145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1" name="Grafik 216">
              <a:extLst>
                <a:ext uri="{FF2B5EF4-FFF2-40B4-BE49-F238E27FC236}">
                  <a16:creationId xmlns:a16="http://schemas.microsoft.com/office/drawing/2014/main" id="{5F78B068-3B4A-C5CE-D817-071288969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25715" y="2464380"/>
              <a:ext cx="470597" cy="1356030"/>
            </a:xfrm>
            <a:custGeom>
              <a:avLst/>
              <a:gdLst>
                <a:gd name="connsiteX0" fmla="*/ 470490 w 470597"/>
                <a:gd name="connsiteY0" fmla="*/ 1355885 h 1356030"/>
                <a:gd name="connsiteX1" fmla="*/ 470490 w 470597"/>
                <a:gd name="connsiteY1" fmla="*/ 507707 h 1356030"/>
                <a:gd name="connsiteX2" fmla="*/ 320242 w 470597"/>
                <a:gd name="connsiteY2" fmla="*/ 221182 h 1356030"/>
                <a:gd name="connsiteX3" fmla="*/ -107 w 470597"/>
                <a:gd name="connsiteY3" fmla="*/ -145 h 1356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597" h="1356030">
                  <a:moveTo>
                    <a:pt x="470490" y="1355885"/>
                  </a:moveTo>
                  <a:lnTo>
                    <a:pt x="470490" y="507707"/>
                  </a:lnTo>
                  <a:cubicBezTo>
                    <a:pt x="470502" y="393318"/>
                    <a:pt x="414337" y="286220"/>
                    <a:pt x="320242" y="221182"/>
                  </a:cubicBezTo>
                  <a:lnTo>
                    <a:pt x="-107" y="-145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2" name="Grafik 216">
              <a:extLst>
                <a:ext uri="{FF2B5EF4-FFF2-40B4-BE49-F238E27FC236}">
                  <a16:creationId xmlns:a16="http://schemas.microsoft.com/office/drawing/2014/main" id="{EBBE3A6D-4666-2E9D-7252-EBE45B42BB2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1883" y="4785992"/>
              <a:ext cx="455155" cy="1354927"/>
            </a:xfrm>
            <a:custGeom>
              <a:avLst/>
              <a:gdLst>
                <a:gd name="connsiteX0" fmla="*/ -107 w 455155"/>
                <a:gd name="connsiteY0" fmla="*/ -145 h 1354927"/>
                <a:gd name="connsiteX1" fmla="*/ -107 w 455155"/>
                <a:gd name="connsiteY1" fmla="*/ 854282 h 1354927"/>
                <a:gd name="connsiteX2" fmla="*/ 152346 w 455155"/>
                <a:gd name="connsiteY2" fmla="*/ 1145342 h 1354927"/>
                <a:gd name="connsiteX3" fmla="*/ 455048 w 455155"/>
                <a:gd name="connsiteY3" fmla="*/ 1354782 h 135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5155" h="1354927">
                  <a:moveTo>
                    <a:pt x="-107" y="-145"/>
                  </a:moveTo>
                  <a:lnTo>
                    <a:pt x="-107" y="854282"/>
                  </a:lnTo>
                  <a:cubicBezTo>
                    <a:pt x="-95" y="970437"/>
                    <a:pt x="56879" y="1079189"/>
                    <a:pt x="152346" y="1145342"/>
                  </a:cubicBezTo>
                  <a:lnTo>
                    <a:pt x="455048" y="1354782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3" name="Grafik 216">
              <a:extLst>
                <a:ext uri="{FF2B5EF4-FFF2-40B4-BE49-F238E27FC236}">
                  <a16:creationId xmlns:a16="http://schemas.microsoft.com/office/drawing/2014/main" id="{3D8D25CC-9E29-52FD-A7CB-841DEB34F3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4479" y="4406083"/>
              <a:ext cx="3136823" cy="397556"/>
            </a:xfrm>
            <a:custGeom>
              <a:avLst/>
              <a:gdLst>
                <a:gd name="connsiteX0" fmla="*/ -107 w 3136823"/>
                <a:gd name="connsiteY0" fmla="*/ 397411 h 397556"/>
                <a:gd name="connsiteX1" fmla="*/ 695616 w 3136823"/>
                <a:gd name="connsiteY1" fmla="*/ 397411 h 397556"/>
                <a:gd name="connsiteX2" fmla="*/ 873561 w 3136823"/>
                <a:gd name="connsiteY2" fmla="*/ 328170 h 397556"/>
                <a:gd name="connsiteX3" fmla="*/ 1165356 w 3136823"/>
                <a:gd name="connsiteY3" fmla="*/ 60027 h 397556"/>
                <a:gd name="connsiteX4" fmla="*/ 1319403 w 3136823"/>
                <a:gd name="connsiteY4" fmla="*/ -145 h 397556"/>
                <a:gd name="connsiteX5" fmla="*/ 3136716 w 3136823"/>
                <a:gd name="connsiteY5" fmla="*/ -145 h 397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6823" h="397556">
                  <a:moveTo>
                    <a:pt x="-107" y="397411"/>
                  </a:moveTo>
                  <a:lnTo>
                    <a:pt x="695616" y="397411"/>
                  </a:lnTo>
                  <a:cubicBezTo>
                    <a:pt x="761512" y="397460"/>
                    <a:pt x="825031" y="372754"/>
                    <a:pt x="873561" y="328170"/>
                  </a:cubicBezTo>
                  <a:lnTo>
                    <a:pt x="1165356" y="60027"/>
                  </a:lnTo>
                  <a:cubicBezTo>
                    <a:pt x="1207354" y="21375"/>
                    <a:pt x="1262331" y="-109"/>
                    <a:pt x="1319403" y="-145"/>
                  </a:cubicBezTo>
                  <a:lnTo>
                    <a:pt x="3136716" y="-145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4" name="Grafik 216">
              <a:extLst>
                <a:ext uri="{FF2B5EF4-FFF2-40B4-BE49-F238E27FC236}">
                  <a16:creationId xmlns:a16="http://schemas.microsoft.com/office/drawing/2014/main" id="{50A43234-1B8A-C5AA-DB9C-E2A96BB02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2018" y="4404857"/>
              <a:ext cx="2331048" cy="1134825"/>
            </a:xfrm>
            <a:custGeom>
              <a:avLst/>
              <a:gdLst>
                <a:gd name="connsiteX0" fmla="*/ -107 w 2331048"/>
                <a:gd name="connsiteY0" fmla="*/ 1134680 h 1134825"/>
                <a:gd name="connsiteX1" fmla="*/ 1355678 w 2331048"/>
                <a:gd name="connsiteY1" fmla="*/ 1134680 h 1134825"/>
                <a:gd name="connsiteX2" fmla="*/ 1487053 w 2331048"/>
                <a:gd name="connsiteY2" fmla="*/ 1070953 h 1134825"/>
                <a:gd name="connsiteX3" fmla="*/ 2330941 w 2331048"/>
                <a:gd name="connsiteY3" fmla="*/ -145 h 113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31048" h="1134825">
                  <a:moveTo>
                    <a:pt x="-107" y="1134680"/>
                  </a:moveTo>
                  <a:lnTo>
                    <a:pt x="1355678" y="1134680"/>
                  </a:lnTo>
                  <a:cubicBezTo>
                    <a:pt x="1406929" y="1134717"/>
                    <a:pt x="1455361" y="1111224"/>
                    <a:pt x="1487053" y="1070953"/>
                  </a:cubicBezTo>
                  <a:lnTo>
                    <a:pt x="2330941" y="-145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5" name="Grafik 216">
              <a:extLst>
                <a:ext uri="{FF2B5EF4-FFF2-40B4-BE49-F238E27FC236}">
                  <a16:creationId xmlns:a16="http://schemas.microsoft.com/office/drawing/2014/main" id="{8BCAD312-0CCA-D642-9EE2-336B2A566D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3010" y="5539438"/>
              <a:ext cx="1218650" cy="433708"/>
            </a:xfrm>
            <a:custGeom>
              <a:avLst/>
              <a:gdLst>
                <a:gd name="connsiteX0" fmla="*/ -107 w 1218650"/>
                <a:gd name="connsiteY0" fmla="*/ 433564 h 433708"/>
                <a:gd name="connsiteX1" fmla="*/ 795005 w 1218650"/>
                <a:gd name="connsiteY1" fmla="*/ 433564 h 433708"/>
                <a:gd name="connsiteX2" fmla="*/ 977607 w 1218650"/>
                <a:gd name="connsiteY2" fmla="*/ 339322 h 433708"/>
                <a:gd name="connsiteX3" fmla="*/ 1218543 w 1218650"/>
                <a:gd name="connsiteY3" fmla="*/ -145 h 433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8650" h="433708">
                  <a:moveTo>
                    <a:pt x="-107" y="433564"/>
                  </a:moveTo>
                  <a:lnTo>
                    <a:pt x="795005" y="433564"/>
                  </a:lnTo>
                  <a:cubicBezTo>
                    <a:pt x="867531" y="433539"/>
                    <a:pt x="935572" y="398428"/>
                    <a:pt x="977607" y="339322"/>
                  </a:cubicBezTo>
                  <a:lnTo>
                    <a:pt x="1218543" y="-145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6" name="Grafik 216">
              <a:extLst>
                <a:ext uri="{FF2B5EF4-FFF2-40B4-BE49-F238E27FC236}">
                  <a16:creationId xmlns:a16="http://schemas.microsoft.com/office/drawing/2014/main" id="{540FFC4D-6AE1-DE25-1CF2-15B9BC4E0E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819616" y="3099196"/>
              <a:ext cx="2300042" cy="913497"/>
            </a:xfrm>
            <a:custGeom>
              <a:avLst/>
              <a:gdLst>
                <a:gd name="connsiteX0" fmla="*/ 2299935 w 2300042"/>
                <a:gd name="connsiteY0" fmla="*/ -145 h 913497"/>
                <a:gd name="connsiteX1" fmla="*/ 969151 w 2300042"/>
                <a:gd name="connsiteY1" fmla="*/ -145 h 913497"/>
                <a:gd name="connsiteX2" fmla="*/ 848928 w 2300042"/>
                <a:gd name="connsiteY2" fmla="*/ 50101 h 913497"/>
                <a:gd name="connsiteX3" fmla="*/ -107 w 2300042"/>
                <a:gd name="connsiteY3" fmla="*/ 913352 h 913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0042" h="913497">
                  <a:moveTo>
                    <a:pt x="2299935" y="-145"/>
                  </a:moveTo>
                  <a:lnTo>
                    <a:pt x="969151" y="-145"/>
                  </a:lnTo>
                  <a:cubicBezTo>
                    <a:pt x="923966" y="-145"/>
                    <a:pt x="880681" y="17956"/>
                    <a:pt x="848928" y="50101"/>
                  </a:cubicBezTo>
                  <a:lnTo>
                    <a:pt x="-107" y="913352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7" name="Grafik 216">
              <a:extLst>
                <a:ext uri="{FF2B5EF4-FFF2-40B4-BE49-F238E27FC236}">
                  <a16:creationId xmlns:a16="http://schemas.microsoft.com/office/drawing/2014/main" id="{816C2D0A-1DAB-AF97-C1F8-3D2324D4FAE0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0262" y="2752620"/>
              <a:ext cx="1219140" cy="346207"/>
            </a:xfrm>
            <a:custGeom>
              <a:avLst/>
              <a:gdLst>
                <a:gd name="connsiteX0" fmla="*/ 1219033 w 1219140"/>
                <a:gd name="connsiteY0" fmla="*/ -145 h 346207"/>
                <a:gd name="connsiteX1" fmla="*/ 477475 w 1219140"/>
                <a:gd name="connsiteY1" fmla="*/ -145 h 346207"/>
                <a:gd name="connsiteX2" fmla="*/ 243034 w 1219140"/>
                <a:gd name="connsiteY2" fmla="*/ 97896 h 346207"/>
                <a:gd name="connsiteX3" fmla="*/ -107 w 1219140"/>
                <a:gd name="connsiteY3" fmla="*/ 346063 h 34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140" h="346207">
                  <a:moveTo>
                    <a:pt x="1219033" y="-145"/>
                  </a:moveTo>
                  <a:lnTo>
                    <a:pt x="477475" y="-145"/>
                  </a:lnTo>
                  <a:cubicBezTo>
                    <a:pt x="389336" y="-292"/>
                    <a:pt x="304837" y="35052"/>
                    <a:pt x="243034" y="97896"/>
                  </a:cubicBezTo>
                  <a:lnTo>
                    <a:pt x="-107" y="346063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8" name="Grafik 216">
              <a:extLst>
                <a:ext uri="{FF2B5EF4-FFF2-40B4-BE49-F238E27FC236}">
                  <a16:creationId xmlns:a16="http://schemas.microsoft.com/office/drawing/2014/main" id="{36EA58D7-A648-C605-7069-58E1384A6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96248" y="4026909"/>
              <a:ext cx="2924810" cy="397311"/>
            </a:xfrm>
            <a:custGeom>
              <a:avLst/>
              <a:gdLst>
                <a:gd name="connsiteX0" fmla="*/ -107 w 2924810"/>
                <a:gd name="connsiteY0" fmla="*/ 397166 h 397311"/>
                <a:gd name="connsiteX1" fmla="*/ 626988 w 2924810"/>
                <a:gd name="connsiteY1" fmla="*/ 397166 h 397311"/>
                <a:gd name="connsiteX2" fmla="*/ 770128 w 2924810"/>
                <a:gd name="connsiteY2" fmla="*/ 341405 h 397311"/>
                <a:gd name="connsiteX3" fmla="*/ 1083736 w 2924810"/>
                <a:gd name="connsiteY3" fmla="*/ 53410 h 397311"/>
                <a:gd name="connsiteX4" fmla="*/ 1221239 w 2924810"/>
                <a:gd name="connsiteY4" fmla="*/ -145 h 397311"/>
                <a:gd name="connsiteX5" fmla="*/ 2924703 w 2924810"/>
                <a:gd name="connsiteY5" fmla="*/ -145 h 397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24810" h="397311">
                  <a:moveTo>
                    <a:pt x="-107" y="397166"/>
                  </a:moveTo>
                  <a:lnTo>
                    <a:pt x="626988" y="397166"/>
                  </a:lnTo>
                  <a:cubicBezTo>
                    <a:pt x="680003" y="397166"/>
                    <a:pt x="731083" y="377264"/>
                    <a:pt x="770128" y="341405"/>
                  </a:cubicBezTo>
                  <a:lnTo>
                    <a:pt x="1083736" y="53410"/>
                  </a:lnTo>
                  <a:cubicBezTo>
                    <a:pt x="1121237" y="18960"/>
                    <a:pt x="1170319" y="-158"/>
                    <a:pt x="1221239" y="-145"/>
                  </a:cubicBezTo>
                  <a:lnTo>
                    <a:pt x="2924703" y="-145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9" name="Grafik 216">
              <a:extLst>
                <a:ext uri="{FF2B5EF4-FFF2-40B4-BE49-F238E27FC236}">
                  <a16:creationId xmlns:a16="http://schemas.microsoft.com/office/drawing/2014/main" id="{75E54E79-8F6E-C3CA-5682-71EC5D1879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91721" y="4028625"/>
              <a:ext cx="518882" cy="207479"/>
            </a:xfrm>
            <a:custGeom>
              <a:avLst/>
              <a:gdLst>
                <a:gd name="connsiteX0" fmla="*/ 518775 w 518882"/>
                <a:gd name="connsiteY0" fmla="*/ 207334 h 207479"/>
                <a:gd name="connsiteX1" fmla="*/ 363747 w 518882"/>
                <a:gd name="connsiteY1" fmla="*/ 65542 h 207479"/>
                <a:gd name="connsiteX2" fmla="*/ 194381 w 518882"/>
                <a:gd name="connsiteY2" fmla="*/ -145 h 207479"/>
                <a:gd name="connsiteX3" fmla="*/ -107 w 518882"/>
                <a:gd name="connsiteY3" fmla="*/ -145 h 207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882" h="207479">
                  <a:moveTo>
                    <a:pt x="518775" y="207334"/>
                  </a:moveTo>
                  <a:lnTo>
                    <a:pt x="363747" y="65542"/>
                  </a:lnTo>
                  <a:cubicBezTo>
                    <a:pt x="317460" y="23286"/>
                    <a:pt x="257054" y="-145"/>
                    <a:pt x="194381" y="-145"/>
                  </a:cubicBezTo>
                  <a:lnTo>
                    <a:pt x="-107" y="-145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0" name="Grafik 216">
              <a:extLst>
                <a:ext uri="{FF2B5EF4-FFF2-40B4-BE49-F238E27FC236}">
                  <a16:creationId xmlns:a16="http://schemas.microsoft.com/office/drawing/2014/main" id="{B4DC7D62-7FDA-BDD2-9CE1-A65C8A78A41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176" y="4027518"/>
              <a:ext cx="498661" cy="206744"/>
            </a:xfrm>
            <a:custGeom>
              <a:avLst/>
              <a:gdLst>
                <a:gd name="connsiteX0" fmla="*/ 498554 w 498661"/>
                <a:gd name="connsiteY0" fmla="*/ -145 h 206744"/>
                <a:gd name="connsiteX1" fmla="*/ 308967 w 498661"/>
                <a:gd name="connsiteY1" fmla="*/ 160642 h 206744"/>
                <a:gd name="connsiteX2" fmla="*/ 183720 w 498661"/>
                <a:gd name="connsiteY2" fmla="*/ 206599 h 206744"/>
                <a:gd name="connsiteX3" fmla="*/ -107 w 498661"/>
                <a:gd name="connsiteY3" fmla="*/ 206599 h 206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661" h="206744">
                  <a:moveTo>
                    <a:pt x="498554" y="-145"/>
                  </a:moveTo>
                  <a:lnTo>
                    <a:pt x="308967" y="160642"/>
                  </a:lnTo>
                  <a:cubicBezTo>
                    <a:pt x="273991" y="190336"/>
                    <a:pt x="229603" y="206623"/>
                    <a:pt x="183720" y="206599"/>
                  </a:cubicBezTo>
                  <a:lnTo>
                    <a:pt x="-107" y="206599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1" name="Grafik 216">
              <a:extLst>
                <a:ext uri="{FF2B5EF4-FFF2-40B4-BE49-F238E27FC236}">
                  <a16:creationId xmlns:a16="http://schemas.microsoft.com/office/drawing/2014/main" id="{B8AF9DE2-AB52-0249-A81E-8CA258A45C91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2183" y="4678882"/>
              <a:ext cx="243877" cy="556260"/>
            </a:xfrm>
            <a:custGeom>
              <a:avLst/>
              <a:gdLst>
                <a:gd name="connsiteX0" fmla="*/ 243770 w 243877"/>
                <a:gd name="connsiteY0" fmla="*/ -145 h 556260"/>
                <a:gd name="connsiteX1" fmla="*/ 57247 w 243877"/>
                <a:gd name="connsiteY1" fmla="*/ 186132 h 556260"/>
                <a:gd name="connsiteX2" fmla="*/ -107 w 243877"/>
                <a:gd name="connsiteY2" fmla="*/ 324861 h 556260"/>
                <a:gd name="connsiteX3" fmla="*/ -107 w 243877"/>
                <a:gd name="connsiteY3" fmla="*/ 556115 h 55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877" h="556260">
                  <a:moveTo>
                    <a:pt x="243770" y="-145"/>
                  </a:moveTo>
                  <a:lnTo>
                    <a:pt x="57247" y="186132"/>
                  </a:lnTo>
                  <a:cubicBezTo>
                    <a:pt x="20481" y="222935"/>
                    <a:pt x="-144" y="272838"/>
                    <a:pt x="-107" y="324861"/>
                  </a:cubicBezTo>
                  <a:lnTo>
                    <a:pt x="-107" y="556115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2" name="Grafik 216">
              <a:extLst>
                <a:ext uri="{FF2B5EF4-FFF2-40B4-BE49-F238E27FC236}">
                  <a16:creationId xmlns:a16="http://schemas.microsoft.com/office/drawing/2014/main" id="{C8E9494A-9B1A-9B5D-E416-C30930EC4B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5859" y="4477898"/>
              <a:ext cx="243999" cy="770357"/>
            </a:xfrm>
            <a:custGeom>
              <a:avLst/>
              <a:gdLst>
                <a:gd name="connsiteX0" fmla="*/ -107 w 243999"/>
                <a:gd name="connsiteY0" fmla="*/ -145 h 770357"/>
                <a:gd name="connsiteX1" fmla="*/ 190337 w 243999"/>
                <a:gd name="connsiteY1" fmla="*/ 190055 h 770357"/>
                <a:gd name="connsiteX2" fmla="*/ 243892 w 243999"/>
                <a:gd name="connsiteY2" fmla="*/ 319346 h 770357"/>
                <a:gd name="connsiteX3" fmla="*/ 243892 w 243999"/>
                <a:gd name="connsiteY3" fmla="*/ 770212 h 770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999" h="770357">
                  <a:moveTo>
                    <a:pt x="-107" y="-145"/>
                  </a:moveTo>
                  <a:lnTo>
                    <a:pt x="190337" y="190055"/>
                  </a:lnTo>
                  <a:cubicBezTo>
                    <a:pt x="224640" y="224332"/>
                    <a:pt x="243905" y="270852"/>
                    <a:pt x="243892" y="319346"/>
                  </a:cubicBezTo>
                  <a:lnTo>
                    <a:pt x="243892" y="770212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3" name="Grafik 216">
              <a:extLst>
                <a:ext uri="{FF2B5EF4-FFF2-40B4-BE49-F238E27FC236}">
                  <a16:creationId xmlns:a16="http://schemas.microsoft.com/office/drawing/2014/main" id="{D8780037-BB09-86DD-0BD5-0408F536B42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6742" y="3171869"/>
              <a:ext cx="243999" cy="545476"/>
            </a:xfrm>
            <a:custGeom>
              <a:avLst/>
              <a:gdLst>
                <a:gd name="connsiteX0" fmla="*/ -107 w 243999"/>
                <a:gd name="connsiteY0" fmla="*/ 545331 h 545476"/>
                <a:gd name="connsiteX1" fmla="*/ 176979 w 243999"/>
                <a:gd name="connsiteY1" fmla="*/ 368367 h 545476"/>
                <a:gd name="connsiteX2" fmla="*/ 243892 w 243999"/>
                <a:gd name="connsiteY2" fmla="*/ 207089 h 545476"/>
                <a:gd name="connsiteX3" fmla="*/ 243892 w 243999"/>
                <a:gd name="connsiteY3" fmla="*/ -145 h 545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999" h="545476">
                  <a:moveTo>
                    <a:pt x="-107" y="545331"/>
                  </a:moveTo>
                  <a:lnTo>
                    <a:pt x="176979" y="368367"/>
                  </a:lnTo>
                  <a:cubicBezTo>
                    <a:pt x="219799" y="325608"/>
                    <a:pt x="243868" y="267593"/>
                    <a:pt x="243892" y="207089"/>
                  </a:cubicBezTo>
                  <a:lnTo>
                    <a:pt x="243892" y="-145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4" name="Grafik 216">
              <a:extLst>
                <a:ext uri="{FF2B5EF4-FFF2-40B4-BE49-F238E27FC236}">
                  <a16:creationId xmlns:a16="http://schemas.microsoft.com/office/drawing/2014/main" id="{F5CCABA6-7B76-34B8-761E-A28A5B274EBF}"/>
                </a:ext>
              </a:extLst>
            </p:cNvPr>
            <p:cNvSpPr>
              <a:spLocks/>
            </p:cNvSpPr>
            <p:nvPr/>
          </p:nvSpPr>
          <p:spPr bwMode="gray">
            <a:xfrm>
              <a:off x="6966432" y="4189167"/>
              <a:ext cx="510671" cy="209195"/>
            </a:xfrm>
            <a:custGeom>
              <a:avLst/>
              <a:gdLst>
                <a:gd name="connsiteX0" fmla="*/ -107 w 510671"/>
                <a:gd name="connsiteY0" fmla="*/ 209050 h 209195"/>
                <a:gd name="connsiteX1" fmla="*/ 155778 w 510671"/>
                <a:gd name="connsiteY1" fmla="*/ 53042 h 209195"/>
                <a:gd name="connsiteX2" fmla="*/ 284089 w 510671"/>
                <a:gd name="connsiteY2" fmla="*/ -145 h 209195"/>
                <a:gd name="connsiteX3" fmla="*/ 510564 w 510671"/>
                <a:gd name="connsiteY3" fmla="*/ -145 h 20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0671" h="209195">
                  <a:moveTo>
                    <a:pt x="-107" y="209050"/>
                  </a:moveTo>
                  <a:lnTo>
                    <a:pt x="155778" y="53042"/>
                  </a:lnTo>
                  <a:cubicBezTo>
                    <a:pt x="189786" y="18973"/>
                    <a:pt x="235951" y="-170"/>
                    <a:pt x="284089" y="-145"/>
                  </a:cubicBezTo>
                  <a:lnTo>
                    <a:pt x="510564" y="-145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5" name="Grafik 216">
              <a:extLst>
                <a:ext uri="{FF2B5EF4-FFF2-40B4-BE49-F238E27FC236}">
                  <a16:creationId xmlns:a16="http://schemas.microsoft.com/office/drawing/2014/main" id="{FA83006E-46F8-9ADB-73D2-2CAADC02DBF4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7030" y="4169436"/>
              <a:ext cx="515082" cy="213974"/>
            </a:xfrm>
            <a:custGeom>
              <a:avLst/>
              <a:gdLst>
                <a:gd name="connsiteX0" fmla="*/ -107 w 515082"/>
                <a:gd name="connsiteY0" fmla="*/ -145 h 213974"/>
                <a:gd name="connsiteX1" fmla="*/ 167788 w 515082"/>
                <a:gd name="connsiteY1" fmla="*/ 167872 h 213974"/>
                <a:gd name="connsiteX2" fmla="*/ 278084 w 515082"/>
                <a:gd name="connsiteY2" fmla="*/ 213829 h 213974"/>
                <a:gd name="connsiteX3" fmla="*/ 514975 w 515082"/>
                <a:gd name="connsiteY3" fmla="*/ 213829 h 21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5082" h="213974">
                  <a:moveTo>
                    <a:pt x="-107" y="-145"/>
                  </a:moveTo>
                  <a:lnTo>
                    <a:pt x="167788" y="167872"/>
                  </a:lnTo>
                  <a:cubicBezTo>
                    <a:pt x="197041" y="197162"/>
                    <a:pt x="236686" y="213682"/>
                    <a:pt x="278084" y="213829"/>
                  </a:cubicBezTo>
                  <a:lnTo>
                    <a:pt x="514975" y="213829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6" name="Grafik 216">
              <a:extLst>
                <a:ext uri="{FF2B5EF4-FFF2-40B4-BE49-F238E27FC236}">
                  <a16:creationId xmlns:a16="http://schemas.microsoft.com/office/drawing/2014/main" id="{BE7CFCD5-9D59-1442-70EC-D3F92CE4BE62}"/>
                </a:ext>
              </a:extLst>
            </p:cNvPr>
            <p:cNvSpPr>
              <a:spLocks/>
            </p:cNvSpPr>
            <p:nvPr/>
          </p:nvSpPr>
          <p:spPr bwMode="gray">
            <a:xfrm>
              <a:off x="8780437" y="5306100"/>
              <a:ext cx="429174" cy="174267"/>
            </a:xfrm>
            <a:custGeom>
              <a:avLst/>
              <a:gdLst>
                <a:gd name="connsiteX0" fmla="*/ -107 w 429174"/>
                <a:gd name="connsiteY0" fmla="*/ 174123 h 174267"/>
                <a:gd name="connsiteX1" fmla="*/ 124160 w 429174"/>
                <a:gd name="connsiteY1" fmla="*/ 49733 h 174267"/>
                <a:gd name="connsiteX2" fmla="*/ 244505 w 429174"/>
                <a:gd name="connsiteY2" fmla="*/ -145 h 174267"/>
                <a:gd name="connsiteX3" fmla="*/ 429068 w 429174"/>
                <a:gd name="connsiteY3" fmla="*/ -145 h 174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9174" h="174267">
                  <a:moveTo>
                    <a:pt x="-107" y="174123"/>
                  </a:moveTo>
                  <a:lnTo>
                    <a:pt x="124160" y="49733"/>
                  </a:lnTo>
                  <a:cubicBezTo>
                    <a:pt x="156084" y="17833"/>
                    <a:pt x="199370" y="-109"/>
                    <a:pt x="244505" y="-145"/>
                  </a:cubicBezTo>
                  <a:lnTo>
                    <a:pt x="429068" y="-145"/>
                  </a:lnTo>
                </a:path>
              </a:pathLst>
            </a:custGeom>
            <a:noFill/>
            <a:ln w="190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7" name="Gruppieren 38">
            <a:extLst>
              <a:ext uri="{FF2B5EF4-FFF2-40B4-BE49-F238E27FC236}">
                <a16:creationId xmlns:a16="http://schemas.microsoft.com/office/drawing/2014/main" id="{166BF1F3-AA98-48D1-DDE4-8F6AAC12BAD4}"/>
              </a:ext>
            </a:extLst>
          </p:cNvPr>
          <p:cNvGrpSpPr>
            <a:grpSpLocks/>
          </p:cNvGrpSpPr>
          <p:nvPr/>
        </p:nvGrpSpPr>
        <p:grpSpPr bwMode="gray">
          <a:xfrm>
            <a:off x="524950" y="1584743"/>
            <a:ext cx="11109931" cy="4202751"/>
            <a:chOff x="1147124" y="2339812"/>
            <a:chExt cx="9842855" cy="3723433"/>
          </a:xfrm>
        </p:grpSpPr>
        <p:sp>
          <p:nvSpPr>
            <p:cNvPr id="38" name="Textfeld 39">
              <a:extLst>
                <a:ext uri="{FF2B5EF4-FFF2-40B4-BE49-F238E27FC236}">
                  <a16:creationId xmlns:a16="http://schemas.microsoft.com/office/drawing/2014/main" id="{344FC7E9-FAB7-5C9C-6100-9042FF71EE7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639386" y="2339812"/>
              <a:ext cx="1350593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Aenean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commodo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ligu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Arial Unicode MS"/>
              </a:endParaRPr>
            </a:p>
          </p:txBody>
        </p:sp>
        <p:sp>
          <p:nvSpPr>
            <p:cNvPr id="39" name="Textfeld 40">
              <a:extLst>
                <a:ext uri="{FF2B5EF4-FFF2-40B4-BE49-F238E27FC236}">
                  <a16:creationId xmlns:a16="http://schemas.microsoft.com/office/drawing/2014/main" id="{9B28D21E-0B45-D116-7758-E1BB93B12C5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949912" y="4978817"/>
              <a:ext cx="602157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Ligula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nisl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Arial Unicode MS"/>
              </a:endParaRPr>
            </a:p>
          </p:txBody>
        </p:sp>
        <p:sp>
          <p:nvSpPr>
            <p:cNvPr id="40" name="Textfeld 41">
              <a:extLst>
                <a:ext uri="{FF2B5EF4-FFF2-40B4-BE49-F238E27FC236}">
                  <a16:creationId xmlns:a16="http://schemas.microsoft.com/office/drawing/2014/main" id="{10FE2244-A3EC-49ED-97FC-C0A51E8C6F3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980844" y="5899640"/>
              <a:ext cx="991287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Amet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consetetur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Arial Unicode MS"/>
              </a:endParaRPr>
            </a:p>
          </p:txBody>
        </p:sp>
        <p:sp>
          <p:nvSpPr>
            <p:cNvPr id="41" name="Textfeld 42">
              <a:extLst>
                <a:ext uri="{FF2B5EF4-FFF2-40B4-BE49-F238E27FC236}">
                  <a16:creationId xmlns:a16="http://schemas.microsoft.com/office/drawing/2014/main" id="{3614E9F5-E7C5-CB5E-1720-75499BE1965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971405" y="3549389"/>
              <a:ext cx="785361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Lorem ipsum</a:t>
              </a:r>
            </a:p>
          </p:txBody>
        </p:sp>
        <p:sp>
          <p:nvSpPr>
            <p:cNvPr id="42" name="Textfeld 43">
              <a:extLst>
                <a:ext uri="{FF2B5EF4-FFF2-40B4-BE49-F238E27FC236}">
                  <a16:creationId xmlns:a16="http://schemas.microsoft.com/office/drawing/2014/main" id="{94FC5414-1675-B5ED-AD3E-F662221568E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408784" y="5283244"/>
              <a:ext cx="634822" cy="327210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Amet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</a:b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consetetur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Arial Unicode MS"/>
              </a:endParaRPr>
            </a:p>
          </p:txBody>
        </p:sp>
        <p:sp>
          <p:nvSpPr>
            <p:cNvPr id="43" name="Textfeld 44">
              <a:extLst>
                <a:ext uri="{FF2B5EF4-FFF2-40B4-BE49-F238E27FC236}">
                  <a16:creationId xmlns:a16="http://schemas.microsoft.com/office/drawing/2014/main" id="{56314F8F-5E3F-0058-CFE0-CA1D81F26270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1147124" y="3273615"/>
              <a:ext cx="1102062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Aenean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commodo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Arial Unicode MS"/>
              </a:endParaRPr>
            </a:p>
          </p:txBody>
        </p:sp>
        <p:sp>
          <p:nvSpPr>
            <p:cNvPr id="45" name="Textfeld 45">
              <a:extLst>
                <a:ext uri="{FF2B5EF4-FFF2-40B4-BE49-F238E27FC236}">
                  <a16:creationId xmlns:a16="http://schemas.microsoft.com/office/drawing/2014/main" id="{723EE722-23DD-E76E-B615-4A1C5D1258AD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1645689" y="2358188"/>
              <a:ext cx="498485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Dolor sit</a:t>
              </a:r>
            </a:p>
          </p:txBody>
        </p:sp>
        <p:sp>
          <p:nvSpPr>
            <p:cNvPr id="46" name="Textfeld 46">
              <a:extLst>
                <a:ext uri="{FF2B5EF4-FFF2-40B4-BE49-F238E27FC236}">
                  <a16:creationId xmlns:a16="http://schemas.microsoft.com/office/drawing/2014/main" id="{C1D760E0-29DC-9CED-17C0-D033C9B431E0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2480476" y="5029014"/>
              <a:ext cx="991287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Amet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consetetur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Arial Unicode MS"/>
              </a:endParaRPr>
            </a:p>
          </p:txBody>
        </p:sp>
        <p:sp>
          <p:nvSpPr>
            <p:cNvPr id="47" name="Textfeld 47">
              <a:extLst>
                <a:ext uri="{FF2B5EF4-FFF2-40B4-BE49-F238E27FC236}">
                  <a16:creationId xmlns:a16="http://schemas.microsoft.com/office/drawing/2014/main" id="{7840D427-0909-CA2D-C133-3E1D4B0F171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41244" y="5877449"/>
              <a:ext cx="920279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Ligula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commod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Arial Unicode MS"/>
              </a:endParaRPr>
            </a:p>
          </p:txBody>
        </p:sp>
        <p:sp>
          <p:nvSpPr>
            <p:cNvPr id="48" name="Textfeld 48">
              <a:extLst>
                <a:ext uri="{FF2B5EF4-FFF2-40B4-BE49-F238E27FC236}">
                  <a16:creationId xmlns:a16="http://schemas.microsoft.com/office/drawing/2014/main" id="{C902676D-6C1F-26F9-7E95-955C8D4B6DF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901405" y="2782577"/>
              <a:ext cx="634822" cy="327210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Amet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</a:b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consetetur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Arial Unicode MS"/>
              </a:endParaRPr>
            </a:p>
          </p:txBody>
        </p:sp>
        <p:sp>
          <p:nvSpPr>
            <p:cNvPr id="49" name="Textfeld 49">
              <a:extLst>
                <a:ext uri="{FF2B5EF4-FFF2-40B4-BE49-F238E27FC236}">
                  <a16:creationId xmlns:a16="http://schemas.microsoft.com/office/drawing/2014/main" id="{3D3378FE-1824-62EC-4216-6CCF72D0025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511903" y="2367707"/>
              <a:ext cx="602157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Ligula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ea typeface="Arial Unicode MS"/>
                </a:rPr>
                <a:t>nisl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Arial Unicode MS"/>
              </a:endParaRPr>
            </a:p>
          </p:txBody>
        </p:sp>
      </p:grpSp>
      <p:grpSp>
        <p:nvGrpSpPr>
          <p:cNvPr id="50" name="Gruppieren 50">
            <a:extLst>
              <a:ext uri="{FF2B5EF4-FFF2-40B4-BE49-F238E27FC236}">
                <a16:creationId xmlns:a16="http://schemas.microsoft.com/office/drawing/2014/main" id="{618CCA26-644F-CF83-037F-7C627A678B9B}"/>
              </a:ext>
            </a:extLst>
          </p:cNvPr>
          <p:cNvGrpSpPr>
            <a:grpSpLocks/>
          </p:cNvGrpSpPr>
          <p:nvPr/>
        </p:nvGrpSpPr>
        <p:grpSpPr bwMode="gray">
          <a:xfrm>
            <a:off x="531456" y="1616229"/>
            <a:ext cx="11003129" cy="4419383"/>
            <a:chOff x="1152888" y="2367707"/>
            <a:chExt cx="9748234" cy="3915359"/>
          </a:xfrm>
        </p:grpSpPr>
        <p:sp>
          <p:nvSpPr>
            <p:cNvPr id="51" name="Textfeld 51">
              <a:extLst>
                <a:ext uri="{FF2B5EF4-FFF2-40B4-BE49-F238E27FC236}">
                  <a16:creationId xmlns:a16="http://schemas.microsoft.com/office/drawing/2014/main" id="{93912655-1FD4-361D-3546-1ACFBBAAB24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920842" y="2671684"/>
              <a:ext cx="536829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Dolor sit </a:t>
              </a:r>
            </a:p>
          </p:txBody>
        </p:sp>
        <p:sp>
          <p:nvSpPr>
            <p:cNvPr id="52" name="Textfeld 52">
              <a:extLst>
                <a:ext uri="{FF2B5EF4-FFF2-40B4-BE49-F238E27FC236}">
                  <a16:creationId xmlns:a16="http://schemas.microsoft.com/office/drawing/2014/main" id="{590AE655-2CAA-B95E-AA0E-3F944655B7B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980844" y="3520325"/>
              <a:ext cx="920278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Ligula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commod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 Unicode MS"/>
              </a:endParaRPr>
            </a:p>
          </p:txBody>
        </p:sp>
        <p:sp>
          <p:nvSpPr>
            <p:cNvPr id="53" name="Textfeld 53">
              <a:extLst>
                <a:ext uri="{FF2B5EF4-FFF2-40B4-BE49-F238E27FC236}">
                  <a16:creationId xmlns:a16="http://schemas.microsoft.com/office/drawing/2014/main" id="{6F75724D-7C69-0CFA-EFD9-E7407D72028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780177" y="3900504"/>
              <a:ext cx="536829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Dolor sit </a:t>
              </a:r>
            </a:p>
          </p:txBody>
        </p:sp>
        <p:sp>
          <p:nvSpPr>
            <p:cNvPr id="54" name="Textfeld 54">
              <a:extLst>
                <a:ext uri="{FF2B5EF4-FFF2-40B4-BE49-F238E27FC236}">
                  <a16:creationId xmlns:a16="http://schemas.microsoft.com/office/drawing/2014/main" id="{0C44B64B-196E-169B-69AA-AF0F0A8441E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321990" y="5238567"/>
              <a:ext cx="785361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Lorem ipsum</a:t>
              </a:r>
            </a:p>
          </p:txBody>
        </p:sp>
        <p:sp>
          <p:nvSpPr>
            <p:cNvPr id="55" name="Textfeld 55">
              <a:extLst>
                <a:ext uri="{FF2B5EF4-FFF2-40B4-BE49-F238E27FC236}">
                  <a16:creationId xmlns:a16="http://schemas.microsoft.com/office/drawing/2014/main" id="{C9D3AEB0-31D9-E797-7C52-EF603ACAAE1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262551" y="3015449"/>
              <a:ext cx="785361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Lorem ipsum</a:t>
              </a:r>
            </a:p>
          </p:txBody>
        </p:sp>
        <p:sp>
          <p:nvSpPr>
            <p:cNvPr id="56" name="Textfeld 56">
              <a:extLst>
                <a:ext uri="{FF2B5EF4-FFF2-40B4-BE49-F238E27FC236}">
                  <a16:creationId xmlns:a16="http://schemas.microsoft.com/office/drawing/2014/main" id="{3DD8C192-37D5-9C5E-0D43-68C62D6125D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920842" y="5580908"/>
              <a:ext cx="536829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Dolor sit </a:t>
              </a:r>
            </a:p>
          </p:txBody>
        </p:sp>
        <p:sp>
          <p:nvSpPr>
            <p:cNvPr id="57" name="Textfeld 57">
              <a:extLst>
                <a:ext uri="{FF2B5EF4-FFF2-40B4-BE49-F238E27FC236}">
                  <a16:creationId xmlns:a16="http://schemas.microsoft.com/office/drawing/2014/main" id="{6D16778D-010F-9EC5-4E4D-817BEA96AB0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409700" y="4310707"/>
              <a:ext cx="1455688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Aenean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commodo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 ligula</a:t>
              </a:r>
            </a:p>
          </p:txBody>
        </p:sp>
        <p:sp>
          <p:nvSpPr>
            <p:cNvPr id="58" name="Textfeld 58">
              <a:extLst>
                <a:ext uri="{FF2B5EF4-FFF2-40B4-BE49-F238E27FC236}">
                  <a16:creationId xmlns:a16="http://schemas.microsoft.com/office/drawing/2014/main" id="{D5803A6F-C089-E499-8011-028F91A7029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587836" y="4110500"/>
              <a:ext cx="602157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Ligula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nisl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 Unicode MS"/>
              </a:endParaRPr>
            </a:p>
          </p:txBody>
        </p:sp>
        <p:sp>
          <p:nvSpPr>
            <p:cNvPr id="59" name="Textfeld 59">
              <a:extLst>
                <a:ext uri="{FF2B5EF4-FFF2-40B4-BE49-F238E27FC236}">
                  <a16:creationId xmlns:a16="http://schemas.microsoft.com/office/drawing/2014/main" id="{C602CFFE-8371-DF0F-CF55-51185701AC63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1607347" y="5905933"/>
              <a:ext cx="536829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Dolor sit </a:t>
              </a:r>
            </a:p>
          </p:txBody>
        </p:sp>
        <p:sp>
          <p:nvSpPr>
            <p:cNvPr id="60" name="Textfeld 60">
              <a:extLst>
                <a:ext uri="{FF2B5EF4-FFF2-40B4-BE49-F238E27FC236}">
                  <a16:creationId xmlns:a16="http://schemas.microsoft.com/office/drawing/2014/main" id="{5206DAC6-6649-593C-5AB6-C8D61FB6A693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1297153" y="4732444"/>
              <a:ext cx="785361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Lorem ipsum</a:t>
              </a:r>
            </a:p>
          </p:txBody>
        </p:sp>
        <p:sp>
          <p:nvSpPr>
            <p:cNvPr id="61" name="Textfeld 61">
              <a:extLst>
                <a:ext uri="{FF2B5EF4-FFF2-40B4-BE49-F238E27FC236}">
                  <a16:creationId xmlns:a16="http://schemas.microsoft.com/office/drawing/2014/main" id="{34952C8F-4105-B7FE-0F4F-09A4A1B4DE01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1499582" y="4342273"/>
              <a:ext cx="785361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Lorem ipsum</a:t>
              </a:r>
            </a:p>
          </p:txBody>
        </p:sp>
        <p:sp>
          <p:nvSpPr>
            <p:cNvPr id="62" name="Textfeld 62">
              <a:extLst>
                <a:ext uri="{FF2B5EF4-FFF2-40B4-BE49-F238E27FC236}">
                  <a16:creationId xmlns:a16="http://schemas.microsoft.com/office/drawing/2014/main" id="{21882B29-06BB-7C0E-B69B-C1F506609CAD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2208939" y="5464371"/>
              <a:ext cx="602158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Ligula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nisl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 Unicode MS"/>
              </a:endParaRPr>
            </a:p>
          </p:txBody>
        </p:sp>
        <p:sp>
          <p:nvSpPr>
            <p:cNvPr id="63" name="Textfeld 63">
              <a:extLst>
                <a:ext uri="{FF2B5EF4-FFF2-40B4-BE49-F238E27FC236}">
                  <a16:creationId xmlns:a16="http://schemas.microsoft.com/office/drawing/2014/main" id="{7F0B4287-DE27-0E05-BEC5-D8F6AC01108A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1152888" y="2686871"/>
              <a:ext cx="991287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Amet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consetetur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 Unicode MS"/>
              </a:endParaRPr>
            </a:p>
          </p:txBody>
        </p:sp>
        <p:sp>
          <p:nvSpPr>
            <p:cNvPr id="64" name="Textfeld 64">
              <a:extLst>
                <a:ext uri="{FF2B5EF4-FFF2-40B4-BE49-F238E27FC236}">
                  <a16:creationId xmlns:a16="http://schemas.microsoft.com/office/drawing/2014/main" id="{D670B417-D83B-BBF5-4D36-55D110D52486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1757787" y="3947453"/>
              <a:ext cx="920279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Ligula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commod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 Unicode MS"/>
              </a:endParaRPr>
            </a:p>
          </p:txBody>
        </p:sp>
        <p:sp>
          <p:nvSpPr>
            <p:cNvPr id="65" name="Textfeld 65">
              <a:extLst>
                <a:ext uri="{FF2B5EF4-FFF2-40B4-BE49-F238E27FC236}">
                  <a16:creationId xmlns:a16="http://schemas.microsoft.com/office/drawing/2014/main" id="{31C2F80C-468B-5D14-3A24-7DFACB85CC64}"/>
                </a:ext>
              </a:extLst>
            </p:cNvPr>
            <p:cNvSpPr txBox="1">
              <a:spLocks/>
            </p:cNvSpPr>
            <p:nvPr/>
          </p:nvSpPr>
          <p:spPr bwMode="gray">
            <a:xfrm flipH="1">
              <a:off x="3719262" y="4142971"/>
              <a:ext cx="785361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Lorem ipsum</a:t>
              </a:r>
            </a:p>
          </p:txBody>
        </p:sp>
        <p:sp>
          <p:nvSpPr>
            <p:cNvPr id="66" name="Textfeld 66">
              <a:extLst>
                <a:ext uri="{FF2B5EF4-FFF2-40B4-BE49-F238E27FC236}">
                  <a16:creationId xmlns:a16="http://schemas.microsoft.com/office/drawing/2014/main" id="{FB05D678-6BFD-5E6E-839F-45FAAC9D9F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931199" y="5283244"/>
              <a:ext cx="536829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Dolor sit </a:t>
              </a:r>
            </a:p>
          </p:txBody>
        </p:sp>
        <p:sp>
          <p:nvSpPr>
            <p:cNvPr id="67" name="Textfeld 67">
              <a:extLst>
                <a:ext uri="{FF2B5EF4-FFF2-40B4-BE49-F238E27FC236}">
                  <a16:creationId xmlns:a16="http://schemas.microsoft.com/office/drawing/2014/main" id="{BA0BB0FD-76CB-991C-1F8C-7A12C40045F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464579" y="2367707"/>
              <a:ext cx="785361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Lorem ipsum</a:t>
              </a:r>
            </a:p>
          </p:txBody>
        </p:sp>
        <p:sp>
          <p:nvSpPr>
            <p:cNvPr id="68" name="Textfeld 68">
              <a:extLst>
                <a:ext uri="{FF2B5EF4-FFF2-40B4-BE49-F238E27FC236}">
                  <a16:creationId xmlns:a16="http://schemas.microsoft.com/office/drawing/2014/main" id="{C059A042-B98D-E87B-5488-8F4D22EB4D3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445258" y="2781964"/>
              <a:ext cx="634822" cy="327210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Dolor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</a:b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commodo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 </a:t>
              </a:r>
            </a:p>
          </p:txBody>
        </p:sp>
        <p:sp>
          <p:nvSpPr>
            <p:cNvPr id="69" name="Textfeld 69">
              <a:extLst>
                <a:ext uri="{FF2B5EF4-FFF2-40B4-BE49-F238E27FC236}">
                  <a16:creationId xmlns:a16="http://schemas.microsoft.com/office/drawing/2014/main" id="{3633418F-0C52-7EBD-76F2-9F17C825238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698343" y="6119461"/>
              <a:ext cx="785361" cy="1636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 Unicode MS"/>
                </a:rPr>
                <a:t>Lorem ipsum</a:t>
              </a:r>
            </a:p>
          </p:txBody>
        </p:sp>
      </p:grpSp>
      <p:sp>
        <p:nvSpPr>
          <p:cNvPr id="70" name="Ellipse 24">
            <a:extLst>
              <a:ext uri="{FF2B5EF4-FFF2-40B4-BE49-F238E27FC236}">
                <a16:creationId xmlns:a16="http://schemas.microsoft.com/office/drawing/2014/main" id="{56DA3CDC-3BA4-1E0D-1CCA-AFFC7EC4B51C}"/>
              </a:ext>
            </a:extLst>
          </p:cNvPr>
          <p:cNvSpPr>
            <a:spLocks noChangeAspect="1"/>
          </p:cNvSpPr>
          <p:nvPr/>
        </p:nvSpPr>
        <p:spPr bwMode="gray">
          <a:xfrm>
            <a:off x="5120002" y="3124200"/>
            <a:ext cx="1947548" cy="124247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wrap="none" lIns="0" tIns="35981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 Unicode MS"/>
              </a:rPr>
              <a:t>Lorem ipsum</a:t>
            </a:r>
            <a:br>
              <a:rPr kumimoji="0" lang="en-US" sz="1199" b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 Unicode MS"/>
              </a:rPr>
            </a:br>
            <a:r>
              <a:rPr kumimoji="0" lang="en-US" sz="1199" b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 Unicode MS"/>
              </a:rPr>
              <a:t>pulvinar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D5C1A772-8EDF-0941-0654-84F5C71AEBC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aps</a:t>
            </a:r>
          </a:p>
        </p:txBody>
      </p:sp>
    </p:spTree>
    <p:extLst>
      <p:ext uri="{BB962C8B-B14F-4D97-AF65-F5344CB8AC3E}">
        <p14:creationId xmlns:p14="http://schemas.microsoft.com/office/powerpoint/2010/main" val="3224737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